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5"/>
  </p:notesMasterIdLst>
  <p:handoutMasterIdLst>
    <p:handoutMasterId r:id="rId2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42" r:id="rId13"/>
    <p:sldId id="433" r:id="rId14"/>
    <p:sldId id="434" r:id="rId15"/>
    <p:sldId id="435" r:id="rId16"/>
    <p:sldId id="438" r:id="rId17"/>
    <p:sldId id="436" r:id="rId18"/>
    <p:sldId id="437" r:id="rId19"/>
    <p:sldId id="445" r:id="rId20"/>
    <p:sldId id="446" r:id="rId21"/>
    <p:sldId id="447" r:id="rId22"/>
    <p:sldId id="429" r:id="rId23"/>
    <p:sldId id="454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74BEF5-D342-3361-25A7-1A536EB22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1</Words>
  <Application>Microsoft Office PowerPoint</Application>
  <PresentationFormat>Breitbild</PresentationFormat>
  <Paragraphs>346</Paragraphs>
  <Slides>2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20T09:44:30Z</dcterms:modified>
</cp:coreProperties>
</file>